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</p:sldMasterIdLst>
  <p:notesMasterIdLst>
    <p:notesMasterId r:id="rId26"/>
  </p:notesMasterIdLst>
  <p:handoutMasterIdLst>
    <p:handoutMasterId r:id="rId27"/>
  </p:handoutMasterIdLst>
  <p:sldIdLst>
    <p:sldId id="298" r:id="rId5"/>
    <p:sldId id="337" r:id="rId6"/>
    <p:sldId id="338" r:id="rId7"/>
    <p:sldId id="339" r:id="rId8"/>
    <p:sldId id="360" r:id="rId9"/>
    <p:sldId id="368" r:id="rId10"/>
    <p:sldId id="366" r:id="rId11"/>
    <p:sldId id="365" r:id="rId12"/>
    <p:sldId id="362" r:id="rId13"/>
    <p:sldId id="371" r:id="rId14"/>
    <p:sldId id="353" r:id="rId15"/>
    <p:sldId id="364" r:id="rId16"/>
    <p:sldId id="361" r:id="rId17"/>
    <p:sldId id="355" r:id="rId18"/>
    <p:sldId id="359" r:id="rId19"/>
    <p:sldId id="340" r:id="rId20"/>
    <p:sldId id="357" r:id="rId21"/>
    <p:sldId id="369" r:id="rId22"/>
    <p:sldId id="367" r:id="rId23"/>
    <p:sldId id="354" r:id="rId24"/>
    <p:sldId id="333" r:id="rId25"/>
  </p:sldIdLst>
  <p:sldSz cx="13004800" cy="7315200"/>
  <p:notesSz cx="7010400" cy="9296400"/>
  <p:custDataLst>
    <p:tags r:id="rId28"/>
  </p:custDataLst>
  <p:defaultTextStyle>
    <a:defPPr>
      <a:defRPr lang="en-US"/>
    </a:defPPr>
    <a:lvl1pPr marL="0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4096" userDrawn="1">
          <p15:clr>
            <a:srgbClr val="A4A3A4"/>
          </p15:clr>
        </p15:guide>
        <p15:guide id="4" orient="horz" pos="230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9DDA"/>
    <a:srgbClr val="606061"/>
    <a:srgbClr val="3CBBED"/>
    <a:srgbClr val="8087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73169BB-92CE-4CE1-962F-A60733D60926}" v="33" dt="2021-05-27T15:40:27.78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618" autoAdjust="0"/>
    <p:restoredTop sz="94660"/>
  </p:normalViewPr>
  <p:slideViewPr>
    <p:cSldViewPr showGuides="1">
      <p:cViewPr varScale="1">
        <p:scale>
          <a:sx n="60" d="100"/>
          <a:sy n="60" d="100"/>
        </p:scale>
        <p:origin x="1122" y="78"/>
      </p:cViewPr>
      <p:guideLst>
        <p:guide pos="4096"/>
        <p:guide orient="horz" pos="230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112"/>
    </p:cViewPr>
  </p:sorterViewPr>
  <p:notesViewPr>
    <p:cSldViewPr showGuides="1">
      <p:cViewPr varScale="1">
        <p:scale>
          <a:sx n="51" d="100"/>
          <a:sy n="51" d="100"/>
        </p:scale>
        <p:origin x="2862" y="9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sther Tan" userId="a32faec1-ecd3-4185-9414-aeb51abd286d" providerId="ADAL" clId="{073169BB-92CE-4CE1-962F-A60733D60926}"/>
    <pc:docChg chg="undo custSel addSld delSld modSld sldOrd">
      <pc:chgData name="Esther Tan" userId="a32faec1-ecd3-4185-9414-aeb51abd286d" providerId="ADAL" clId="{073169BB-92CE-4CE1-962F-A60733D60926}" dt="2021-05-27T15:40:36.732" v="222"/>
      <pc:docMkLst>
        <pc:docMk/>
      </pc:docMkLst>
      <pc:sldChg chg="addSp delSp modSp mod">
        <pc:chgData name="Esther Tan" userId="a32faec1-ecd3-4185-9414-aeb51abd286d" providerId="ADAL" clId="{073169BB-92CE-4CE1-962F-A60733D60926}" dt="2021-05-27T15:27:58.542" v="187" actId="1076"/>
        <pc:sldMkLst>
          <pc:docMk/>
          <pc:sldMk cId="1216976434" sldId="333"/>
        </pc:sldMkLst>
        <pc:spChg chg="add del mod">
          <ac:chgData name="Esther Tan" userId="a32faec1-ecd3-4185-9414-aeb51abd286d" providerId="ADAL" clId="{073169BB-92CE-4CE1-962F-A60733D60926}" dt="2021-05-27T15:03:07.891" v="80" actId="478"/>
          <ac:spMkLst>
            <pc:docMk/>
            <pc:sldMk cId="1216976434" sldId="333"/>
            <ac:spMk id="6" creationId="{4C8F090C-A21D-404E-BB86-E8F05FF9B120}"/>
          </ac:spMkLst>
        </pc:spChg>
        <pc:spChg chg="add del mod">
          <ac:chgData name="Esther Tan" userId="a32faec1-ecd3-4185-9414-aeb51abd286d" providerId="ADAL" clId="{073169BB-92CE-4CE1-962F-A60733D60926}" dt="2021-05-27T15:27:58.542" v="187" actId="1076"/>
          <ac:spMkLst>
            <pc:docMk/>
            <pc:sldMk cId="1216976434" sldId="333"/>
            <ac:spMk id="8" creationId="{B7785F48-4DAB-403B-A159-6B092514A34A}"/>
          </ac:spMkLst>
        </pc:spChg>
        <pc:picChg chg="mod">
          <ac:chgData name="Esther Tan" userId="a32faec1-ecd3-4185-9414-aeb51abd286d" providerId="ADAL" clId="{073169BB-92CE-4CE1-962F-A60733D60926}" dt="2021-05-27T15:27:43.953" v="181" actId="1076"/>
          <ac:picMkLst>
            <pc:docMk/>
            <pc:sldMk cId="1216976434" sldId="333"/>
            <ac:picMk id="5" creationId="{66D180EB-3F37-45E0-A8A5-B51B5EF4E7D2}"/>
          </ac:picMkLst>
        </pc:picChg>
      </pc:sldChg>
      <pc:sldChg chg="del">
        <pc:chgData name="Esther Tan" userId="a32faec1-ecd3-4185-9414-aeb51abd286d" providerId="ADAL" clId="{073169BB-92CE-4CE1-962F-A60733D60926}" dt="2021-05-27T15:38:38.543" v="210" actId="2696"/>
        <pc:sldMkLst>
          <pc:docMk/>
          <pc:sldMk cId="1123416011" sldId="354"/>
        </pc:sldMkLst>
      </pc:sldChg>
      <pc:sldChg chg="add">
        <pc:chgData name="Esther Tan" userId="a32faec1-ecd3-4185-9414-aeb51abd286d" providerId="ADAL" clId="{073169BB-92CE-4CE1-962F-A60733D60926}" dt="2021-05-27T15:38:44.081" v="211"/>
        <pc:sldMkLst>
          <pc:docMk/>
          <pc:sldMk cId="3003747000" sldId="354"/>
        </pc:sldMkLst>
      </pc:sldChg>
      <pc:sldChg chg="del">
        <pc:chgData name="Esther Tan" userId="a32faec1-ecd3-4185-9414-aeb51abd286d" providerId="ADAL" clId="{073169BB-92CE-4CE1-962F-A60733D60926}" dt="2021-05-27T15:02:27.903" v="31" actId="47"/>
        <pc:sldMkLst>
          <pc:docMk/>
          <pc:sldMk cId="125871871" sldId="356"/>
        </pc:sldMkLst>
      </pc:sldChg>
      <pc:sldChg chg="addSp delSp modSp mod">
        <pc:chgData name="Esther Tan" userId="a32faec1-ecd3-4185-9414-aeb51abd286d" providerId="ADAL" clId="{073169BB-92CE-4CE1-962F-A60733D60926}" dt="2021-05-27T15:05:57.935" v="87" actId="21"/>
        <pc:sldMkLst>
          <pc:docMk/>
          <pc:sldMk cId="1310020072" sldId="357"/>
        </pc:sldMkLst>
        <pc:picChg chg="add del mod">
          <ac:chgData name="Esther Tan" userId="a32faec1-ecd3-4185-9414-aeb51abd286d" providerId="ADAL" clId="{073169BB-92CE-4CE1-962F-A60733D60926}" dt="2021-05-27T15:05:57.935" v="87" actId="21"/>
          <ac:picMkLst>
            <pc:docMk/>
            <pc:sldMk cId="1310020072" sldId="357"/>
            <ac:picMk id="3" creationId="{8FECC6A9-A89B-4403-A58A-9FD1F43E38BB}"/>
          </ac:picMkLst>
        </pc:picChg>
      </pc:sldChg>
      <pc:sldChg chg="addSp delSp modSp mod">
        <pc:chgData name="Esther Tan" userId="a32faec1-ecd3-4185-9414-aeb51abd286d" providerId="ADAL" clId="{073169BB-92CE-4CE1-962F-A60733D60926}" dt="2021-05-27T15:29:37.476" v="195" actId="1076"/>
        <pc:sldMkLst>
          <pc:docMk/>
          <pc:sldMk cId="4187724357" sldId="362"/>
        </pc:sldMkLst>
        <pc:picChg chg="del">
          <ac:chgData name="Esther Tan" userId="a32faec1-ecd3-4185-9414-aeb51abd286d" providerId="ADAL" clId="{073169BB-92CE-4CE1-962F-A60733D60926}" dt="2021-05-27T15:29:31.443" v="190" actId="478"/>
          <ac:picMkLst>
            <pc:docMk/>
            <pc:sldMk cId="4187724357" sldId="362"/>
            <ac:picMk id="2" creationId="{98FF399F-42FE-440A-9B12-D4236A4DDB74}"/>
          </ac:picMkLst>
        </pc:picChg>
        <pc:picChg chg="add mod">
          <ac:chgData name="Esther Tan" userId="a32faec1-ecd3-4185-9414-aeb51abd286d" providerId="ADAL" clId="{073169BB-92CE-4CE1-962F-A60733D60926}" dt="2021-05-27T15:29:37.476" v="195" actId="1076"/>
          <ac:picMkLst>
            <pc:docMk/>
            <pc:sldMk cId="4187724357" sldId="362"/>
            <ac:picMk id="3" creationId="{1C2364C9-49C5-4EBE-94EE-0281116C11FF}"/>
          </ac:picMkLst>
        </pc:picChg>
      </pc:sldChg>
      <pc:sldChg chg="addSp delSp modSp del mod">
        <pc:chgData name="Esther Tan" userId="a32faec1-ecd3-4185-9414-aeb51abd286d" providerId="ADAL" clId="{073169BB-92CE-4CE1-962F-A60733D60926}" dt="2021-05-27T15:01:32.237" v="30" actId="47"/>
        <pc:sldMkLst>
          <pc:docMk/>
          <pc:sldMk cId="3829605308" sldId="363"/>
        </pc:sldMkLst>
        <pc:picChg chg="add del">
          <ac:chgData name="Esther Tan" userId="a32faec1-ecd3-4185-9414-aeb51abd286d" providerId="ADAL" clId="{073169BB-92CE-4CE1-962F-A60733D60926}" dt="2021-05-27T14:58:04.700" v="16" actId="21"/>
          <ac:picMkLst>
            <pc:docMk/>
            <pc:sldMk cId="3829605308" sldId="363"/>
            <ac:picMk id="2" creationId="{588A0AEE-FADE-4C6B-BA9A-CCB27D2ACF72}"/>
          </ac:picMkLst>
        </pc:picChg>
        <pc:picChg chg="del">
          <ac:chgData name="Esther Tan" userId="a32faec1-ecd3-4185-9414-aeb51abd286d" providerId="ADAL" clId="{073169BB-92CE-4CE1-962F-A60733D60926}" dt="2021-05-27T14:58:06.544" v="17" actId="478"/>
          <ac:picMkLst>
            <pc:docMk/>
            <pc:sldMk cId="3829605308" sldId="363"/>
            <ac:picMk id="3" creationId="{E166E278-4B4C-4B2A-81D9-67BE81E4C0E5}"/>
          </ac:picMkLst>
        </pc:picChg>
        <pc:picChg chg="add del mod">
          <ac:chgData name="Esther Tan" userId="a32faec1-ecd3-4185-9414-aeb51abd286d" providerId="ADAL" clId="{073169BB-92CE-4CE1-962F-A60733D60926}" dt="2021-05-27T14:57:58.881" v="13" actId="21"/>
          <ac:picMkLst>
            <pc:docMk/>
            <pc:sldMk cId="3829605308" sldId="363"/>
            <ac:picMk id="4" creationId="{5CF20DA0-7A43-46CA-972D-17E0D795993A}"/>
          </ac:picMkLst>
        </pc:picChg>
        <pc:picChg chg="add del">
          <ac:chgData name="Esther Tan" userId="a32faec1-ecd3-4185-9414-aeb51abd286d" providerId="ADAL" clId="{073169BB-92CE-4CE1-962F-A60733D60926}" dt="2021-05-27T14:57:55.655" v="11" actId="21"/>
          <ac:picMkLst>
            <pc:docMk/>
            <pc:sldMk cId="3829605308" sldId="363"/>
            <ac:picMk id="5" creationId="{17BB967E-2C30-4AAF-8111-304BCAF386E5}"/>
          </ac:picMkLst>
        </pc:picChg>
        <pc:picChg chg="add mod">
          <ac:chgData name="Esther Tan" userId="a32faec1-ecd3-4185-9414-aeb51abd286d" providerId="ADAL" clId="{073169BB-92CE-4CE1-962F-A60733D60926}" dt="2021-05-27T14:58:06.723" v="18"/>
          <ac:picMkLst>
            <pc:docMk/>
            <pc:sldMk cId="3829605308" sldId="363"/>
            <ac:picMk id="12" creationId="{BC6AD020-3549-4C05-A6A5-FC83E6172785}"/>
          </ac:picMkLst>
        </pc:picChg>
      </pc:sldChg>
      <pc:sldChg chg="del">
        <pc:chgData name="Esther Tan" userId="a32faec1-ecd3-4185-9414-aeb51abd286d" providerId="ADAL" clId="{073169BB-92CE-4CE1-962F-A60733D60926}" dt="2021-05-27T14:33:53.820" v="0" actId="47"/>
        <pc:sldMkLst>
          <pc:docMk/>
          <pc:sldMk cId="931052202" sldId="365"/>
        </pc:sldMkLst>
      </pc:sldChg>
      <pc:sldChg chg="addSp delSp modSp add mod">
        <pc:chgData name="Esther Tan" userId="a32faec1-ecd3-4185-9414-aeb51abd286d" providerId="ADAL" clId="{073169BB-92CE-4CE1-962F-A60733D60926}" dt="2021-05-27T15:00:57.289" v="24" actId="1076"/>
        <pc:sldMkLst>
          <pc:docMk/>
          <pc:sldMk cId="951983367" sldId="365"/>
        </pc:sldMkLst>
        <pc:picChg chg="del">
          <ac:chgData name="Esther Tan" userId="a32faec1-ecd3-4185-9414-aeb51abd286d" providerId="ADAL" clId="{073169BB-92CE-4CE1-962F-A60733D60926}" dt="2021-05-27T14:57:48.692" v="7" actId="478"/>
          <ac:picMkLst>
            <pc:docMk/>
            <pc:sldMk cId="951983367" sldId="365"/>
            <ac:picMk id="5" creationId="{8BCD838B-AA94-4417-83DB-D54FBE8353B6}"/>
          </ac:picMkLst>
        </pc:picChg>
        <pc:picChg chg="add mod">
          <ac:chgData name="Esther Tan" userId="a32faec1-ecd3-4185-9414-aeb51abd286d" providerId="ADAL" clId="{073169BB-92CE-4CE1-962F-A60733D60926}" dt="2021-05-27T15:00:57.289" v="24" actId="1076"/>
          <ac:picMkLst>
            <pc:docMk/>
            <pc:sldMk cId="951983367" sldId="365"/>
            <ac:picMk id="6" creationId="{F88977F8-BDC2-4CE8-B97C-82E00311FCD7}"/>
          </ac:picMkLst>
        </pc:picChg>
      </pc:sldChg>
      <pc:sldChg chg="del">
        <pc:chgData name="Esther Tan" userId="a32faec1-ecd3-4185-9414-aeb51abd286d" providerId="ADAL" clId="{073169BB-92CE-4CE1-962F-A60733D60926}" dt="2021-05-27T14:33:53.820" v="0" actId="47"/>
        <pc:sldMkLst>
          <pc:docMk/>
          <pc:sldMk cId="200209494" sldId="366"/>
        </pc:sldMkLst>
      </pc:sldChg>
      <pc:sldChg chg="addSp delSp modSp add mod ord">
        <pc:chgData name="Esther Tan" userId="a32faec1-ecd3-4185-9414-aeb51abd286d" providerId="ADAL" clId="{073169BB-92CE-4CE1-962F-A60733D60926}" dt="2021-05-27T15:28:34.056" v="189"/>
        <pc:sldMkLst>
          <pc:docMk/>
          <pc:sldMk cId="2987988614" sldId="366"/>
        </pc:sldMkLst>
        <pc:picChg chg="del">
          <ac:chgData name="Esther Tan" userId="a32faec1-ecd3-4185-9414-aeb51abd286d" providerId="ADAL" clId="{073169BB-92CE-4CE1-962F-A60733D60926}" dt="2021-05-27T14:58:01.492" v="14" actId="478"/>
          <ac:picMkLst>
            <pc:docMk/>
            <pc:sldMk cId="2987988614" sldId="366"/>
            <ac:picMk id="5" creationId="{8BCD838B-AA94-4417-83DB-D54FBE8353B6}"/>
          </ac:picMkLst>
        </pc:picChg>
        <pc:picChg chg="add mod">
          <ac:chgData name="Esther Tan" userId="a32faec1-ecd3-4185-9414-aeb51abd286d" providerId="ADAL" clId="{073169BB-92CE-4CE1-962F-A60733D60926}" dt="2021-05-27T15:01:27.041" v="28" actId="1076"/>
          <ac:picMkLst>
            <pc:docMk/>
            <pc:sldMk cId="2987988614" sldId="366"/>
            <ac:picMk id="6" creationId="{B9FA1C63-D88C-48F7-A138-116A96951C2C}"/>
          </ac:picMkLst>
        </pc:picChg>
      </pc:sldChg>
      <pc:sldChg chg="addSp delSp modSp new mod">
        <pc:chgData name="Esther Tan" userId="a32faec1-ecd3-4185-9414-aeb51abd286d" providerId="ADAL" clId="{073169BB-92CE-4CE1-962F-A60733D60926}" dt="2021-05-27T15:34:10.243" v="199" actId="692"/>
        <pc:sldMkLst>
          <pc:docMk/>
          <pc:sldMk cId="852708746" sldId="367"/>
        </pc:sldMkLst>
        <pc:spChg chg="mod">
          <ac:chgData name="Esther Tan" userId="a32faec1-ecd3-4185-9414-aeb51abd286d" providerId="ADAL" clId="{073169BB-92CE-4CE1-962F-A60733D60926}" dt="2021-05-27T15:12:32.609" v="128" actId="122"/>
          <ac:spMkLst>
            <pc:docMk/>
            <pc:sldMk cId="852708746" sldId="367"/>
            <ac:spMk id="6" creationId="{6DC52C9A-FB6B-4DEA-8E47-5A1731280FE8}"/>
          </ac:spMkLst>
        </pc:spChg>
        <pc:picChg chg="add del mod">
          <ac:chgData name="Esther Tan" userId="a32faec1-ecd3-4185-9414-aeb51abd286d" providerId="ADAL" clId="{073169BB-92CE-4CE1-962F-A60733D60926}" dt="2021-05-27T15:12:00.873" v="94" actId="478"/>
          <ac:picMkLst>
            <pc:docMk/>
            <pc:sldMk cId="852708746" sldId="367"/>
            <ac:picMk id="7" creationId="{326A6A54-A98E-4EC9-AF73-E0D524081FC3}"/>
          </ac:picMkLst>
        </pc:picChg>
        <pc:picChg chg="add mod">
          <ac:chgData name="Esther Tan" userId="a32faec1-ecd3-4185-9414-aeb51abd286d" providerId="ADAL" clId="{073169BB-92CE-4CE1-962F-A60733D60926}" dt="2021-05-27T15:34:10.243" v="199" actId="692"/>
          <ac:picMkLst>
            <pc:docMk/>
            <pc:sldMk cId="852708746" sldId="367"/>
            <ac:picMk id="8" creationId="{5095690E-BCED-4173-BD4E-5A6EF9C4F421}"/>
          </ac:picMkLst>
        </pc:picChg>
      </pc:sldChg>
      <pc:sldChg chg="add del">
        <pc:chgData name="Esther Tan" userId="a32faec1-ecd3-4185-9414-aeb51abd286d" providerId="ADAL" clId="{073169BB-92CE-4CE1-962F-A60733D60926}" dt="2021-05-27T14:57:50.525" v="9"/>
        <pc:sldMkLst>
          <pc:docMk/>
          <pc:sldMk cId="2323299844" sldId="367"/>
        </pc:sldMkLst>
      </pc:sldChg>
      <pc:sldChg chg="addSp delSp add del mod">
        <pc:chgData name="Esther Tan" userId="a32faec1-ecd3-4185-9414-aeb51abd286d" providerId="ADAL" clId="{073169BB-92CE-4CE1-962F-A60733D60926}" dt="2021-05-27T15:01:30.342" v="29" actId="47"/>
        <pc:sldMkLst>
          <pc:docMk/>
          <pc:sldMk cId="2844813974" sldId="367"/>
        </pc:sldMkLst>
        <pc:picChg chg="add">
          <ac:chgData name="Esther Tan" userId="a32faec1-ecd3-4185-9414-aeb51abd286d" providerId="ADAL" clId="{073169BB-92CE-4CE1-962F-A60733D60926}" dt="2021-05-27T14:58:24.396" v="20"/>
          <ac:picMkLst>
            <pc:docMk/>
            <pc:sldMk cId="2844813974" sldId="367"/>
            <ac:picMk id="2" creationId="{02694768-E329-41D3-8DA8-5F93B2D5A2CF}"/>
          </ac:picMkLst>
        </pc:picChg>
        <pc:picChg chg="del">
          <ac:chgData name="Esther Tan" userId="a32faec1-ecd3-4185-9414-aeb51abd286d" providerId="ADAL" clId="{073169BB-92CE-4CE1-962F-A60733D60926}" dt="2021-05-27T14:58:24.158" v="19" actId="478"/>
          <ac:picMkLst>
            <pc:docMk/>
            <pc:sldMk cId="2844813974" sldId="367"/>
            <ac:picMk id="5" creationId="{8BCD838B-AA94-4417-83DB-D54FBE8353B6}"/>
          </ac:picMkLst>
        </pc:picChg>
      </pc:sldChg>
      <pc:sldChg chg="delSp add mod">
        <pc:chgData name="Esther Tan" userId="a32faec1-ecd3-4185-9414-aeb51abd286d" providerId="ADAL" clId="{073169BB-92CE-4CE1-962F-A60733D60926}" dt="2021-05-27T15:37:49.167" v="205" actId="478"/>
        <pc:sldMkLst>
          <pc:docMk/>
          <pc:sldMk cId="79108178" sldId="368"/>
        </pc:sldMkLst>
        <pc:spChg chg="del">
          <ac:chgData name="Esther Tan" userId="a32faec1-ecd3-4185-9414-aeb51abd286d" providerId="ADAL" clId="{073169BB-92CE-4CE1-962F-A60733D60926}" dt="2021-05-27T15:37:44.955" v="203" actId="478"/>
          <ac:spMkLst>
            <pc:docMk/>
            <pc:sldMk cId="79108178" sldId="368"/>
            <ac:spMk id="2" creationId="{62C42708-DD05-4F1C-BBAA-31F013DA0B8A}"/>
          </ac:spMkLst>
        </pc:spChg>
        <pc:spChg chg="del">
          <ac:chgData name="Esther Tan" userId="a32faec1-ecd3-4185-9414-aeb51abd286d" providerId="ADAL" clId="{073169BB-92CE-4CE1-962F-A60733D60926}" dt="2021-05-27T15:37:49.167" v="205" actId="478"/>
          <ac:spMkLst>
            <pc:docMk/>
            <pc:sldMk cId="79108178" sldId="368"/>
            <ac:spMk id="3" creationId="{0CE4818A-6FE5-458E-83A2-6A47B03AD495}"/>
          </ac:spMkLst>
        </pc:spChg>
        <pc:spChg chg="del">
          <ac:chgData name="Esther Tan" userId="a32faec1-ecd3-4185-9414-aeb51abd286d" providerId="ADAL" clId="{073169BB-92CE-4CE1-962F-A60733D60926}" dt="2021-05-27T15:37:46.616" v="204" actId="478"/>
          <ac:spMkLst>
            <pc:docMk/>
            <pc:sldMk cId="79108178" sldId="368"/>
            <ac:spMk id="4" creationId="{AF84F052-59BB-4C06-B4E5-964A1F9892BA}"/>
          </ac:spMkLst>
        </pc:spChg>
        <pc:spChg chg="del">
          <ac:chgData name="Esther Tan" userId="a32faec1-ecd3-4185-9414-aeb51abd286d" providerId="ADAL" clId="{073169BB-92CE-4CE1-962F-A60733D60926}" dt="2021-05-27T15:37:43.119" v="202" actId="478"/>
          <ac:spMkLst>
            <pc:docMk/>
            <pc:sldMk cId="79108178" sldId="368"/>
            <ac:spMk id="6" creationId="{6ED40BED-9DA4-4291-B35A-1B019A0DEEAE}"/>
          </ac:spMkLst>
        </pc:spChg>
      </pc:sldChg>
      <pc:sldChg chg="del">
        <pc:chgData name="Esther Tan" userId="a32faec1-ecd3-4185-9414-aeb51abd286d" providerId="ADAL" clId="{073169BB-92CE-4CE1-962F-A60733D60926}" dt="2021-05-27T14:33:53.820" v="0" actId="47"/>
        <pc:sldMkLst>
          <pc:docMk/>
          <pc:sldMk cId="2083808313" sldId="368"/>
        </pc:sldMkLst>
      </pc:sldChg>
      <pc:sldChg chg="addSp modSp new del mod">
        <pc:chgData name="Esther Tan" userId="a32faec1-ecd3-4185-9414-aeb51abd286d" providerId="ADAL" clId="{073169BB-92CE-4CE1-962F-A60733D60926}" dt="2021-05-27T15:29:48.631" v="196" actId="2696"/>
        <pc:sldMkLst>
          <pc:docMk/>
          <pc:sldMk cId="3220376806" sldId="368"/>
        </pc:sldMkLst>
        <pc:picChg chg="add mod">
          <ac:chgData name="Esther Tan" userId="a32faec1-ecd3-4185-9414-aeb51abd286d" providerId="ADAL" clId="{073169BB-92CE-4CE1-962F-A60733D60926}" dt="2021-05-27T15:14:31.598" v="140" actId="1076"/>
          <ac:picMkLst>
            <pc:docMk/>
            <pc:sldMk cId="3220376806" sldId="368"/>
            <ac:picMk id="7" creationId="{400FFEBA-B475-44AF-86BC-071CA81F84B9}"/>
          </ac:picMkLst>
        </pc:picChg>
      </pc:sldChg>
      <pc:sldChg chg="addSp modSp new del mod">
        <pc:chgData name="Esther Tan" userId="a32faec1-ecd3-4185-9414-aeb51abd286d" providerId="ADAL" clId="{073169BB-92CE-4CE1-962F-A60733D60926}" dt="2021-05-27T15:16:52.977" v="152" actId="2696"/>
        <pc:sldMkLst>
          <pc:docMk/>
          <pc:sldMk cId="3734034391" sldId="369"/>
        </pc:sldMkLst>
        <pc:picChg chg="add mod">
          <ac:chgData name="Esther Tan" userId="a32faec1-ecd3-4185-9414-aeb51abd286d" providerId="ADAL" clId="{073169BB-92CE-4CE1-962F-A60733D60926}" dt="2021-05-27T15:16:49.500" v="151" actId="1076"/>
          <ac:picMkLst>
            <pc:docMk/>
            <pc:sldMk cId="3734034391" sldId="369"/>
            <ac:picMk id="7" creationId="{D91D789C-44ED-49B1-A801-AD22929ECB8D}"/>
          </ac:picMkLst>
        </pc:picChg>
      </pc:sldChg>
      <pc:sldChg chg="delSp modSp add mod">
        <pc:chgData name="Esther Tan" userId="a32faec1-ecd3-4185-9414-aeb51abd286d" providerId="ADAL" clId="{073169BB-92CE-4CE1-962F-A60733D60926}" dt="2021-05-27T15:38:08.684" v="209" actId="478"/>
        <pc:sldMkLst>
          <pc:docMk/>
          <pc:sldMk cId="4042951267" sldId="369"/>
        </pc:sldMkLst>
        <pc:spChg chg="del">
          <ac:chgData name="Esther Tan" userId="a32faec1-ecd3-4185-9414-aeb51abd286d" providerId="ADAL" clId="{073169BB-92CE-4CE1-962F-A60733D60926}" dt="2021-05-27T15:38:04.638" v="207" actId="478"/>
          <ac:spMkLst>
            <pc:docMk/>
            <pc:sldMk cId="4042951267" sldId="369"/>
            <ac:spMk id="2" creationId="{FDF3E87C-A811-42EF-AD2B-0F02DDC41443}"/>
          </ac:spMkLst>
        </pc:spChg>
        <pc:spChg chg="del">
          <ac:chgData name="Esther Tan" userId="a32faec1-ecd3-4185-9414-aeb51abd286d" providerId="ADAL" clId="{073169BB-92CE-4CE1-962F-A60733D60926}" dt="2021-05-27T15:38:08.684" v="209" actId="478"/>
          <ac:spMkLst>
            <pc:docMk/>
            <pc:sldMk cId="4042951267" sldId="369"/>
            <ac:spMk id="3" creationId="{8EF92BBD-EBB5-4953-8361-DDB0E82B570C}"/>
          </ac:spMkLst>
        </pc:spChg>
        <pc:spChg chg="del">
          <ac:chgData name="Esther Tan" userId="a32faec1-ecd3-4185-9414-aeb51abd286d" providerId="ADAL" clId="{073169BB-92CE-4CE1-962F-A60733D60926}" dt="2021-05-27T15:38:06.135" v="208" actId="478"/>
          <ac:spMkLst>
            <pc:docMk/>
            <pc:sldMk cId="4042951267" sldId="369"/>
            <ac:spMk id="4" creationId="{A1898CDF-769F-4B82-9124-B97A87709EB0}"/>
          </ac:spMkLst>
        </pc:spChg>
        <pc:spChg chg="del">
          <ac:chgData name="Esther Tan" userId="a32faec1-ecd3-4185-9414-aeb51abd286d" providerId="ADAL" clId="{073169BB-92CE-4CE1-962F-A60733D60926}" dt="2021-05-27T15:38:02.122" v="206" actId="478"/>
          <ac:spMkLst>
            <pc:docMk/>
            <pc:sldMk cId="4042951267" sldId="369"/>
            <ac:spMk id="6" creationId="{3F4F88AB-EDAD-48AA-A7D5-4690028C331D}"/>
          </ac:spMkLst>
        </pc:spChg>
        <pc:picChg chg="mod">
          <ac:chgData name="Esther Tan" userId="a32faec1-ecd3-4185-9414-aeb51abd286d" providerId="ADAL" clId="{073169BB-92CE-4CE1-962F-A60733D60926}" dt="2021-05-27T15:34:17.774" v="201" actId="1076"/>
          <ac:picMkLst>
            <pc:docMk/>
            <pc:sldMk cId="4042951267" sldId="369"/>
            <ac:picMk id="7" creationId="{D91D789C-44ED-49B1-A801-AD22929ECB8D}"/>
          </ac:picMkLst>
        </pc:picChg>
      </pc:sldChg>
      <pc:sldChg chg="addSp delSp new del">
        <pc:chgData name="Esther Tan" userId="a32faec1-ecd3-4185-9414-aeb51abd286d" providerId="ADAL" clId="{073169BB-92CE-4CE1-962F-A60733D60926}" dt="2021-05-27T15:40:32.760" v="220" actId="47"/>
        <pc:sldMkLst>
          <pc:docMk/>
          <pc:sldMk cId="4026341690" sldId="370"/>
        </pc:sldMkLst>
        <pc:picChg chg="add del">
          <ac:chgData name="Esther Tan" userId="a32faec1-ecd3-4185-9414-aeb51abd286d" providerId="ADAL" clId="{073169BB-92CE-4CE1-962F-A60733D60926}" dt="2021-05-27T15:40:22.349" v="214"/>
          <ac:picMkLst>
            <pc:docMk/>
            <pc:sldMk cId="4026341690" sldId="370"/>
            <ac:picMk id="7" creationId="{E66512E6-020C-461C-B362-6C0EB75FAD76}"/>
          </ac:picMkLst>
        </pc:picChg>
      </pc:sldChg>
      <pc:sldChg chg="addSp delSp modSp new mod ord">
        <pc:chgData name="Esther Tan" userId="a32faec1-ecd3-4185-9414-aeb51abd286d" providerId="ADAL" clId="{073169BB-92CE-4CE1-962F-A60733D60926}" dt="2021-05-27T15:40:36.732" v="222"/>
        <pc:sldMkLst>
          <pc:docMk/>
          <pc:sldMk cId="1792818211" sldId="371"/>
        </pc:sldMkLst>
        <pc:spChg chg="del">
          <ac:chgData name="Esther Tan" userId="a32faec1-ecd3-4185-9414-aeb51abd286d" providerId="ADAL" clId="{073169BB-92CE-4CE1-962F-A60733D60926}" dt="2021-05-27T15:40:27.401" v="216" actId="478"/>
          <ac:spMkLst>
            <pc:docMk/>
            <pc:sldMk cId="1792818211" sldId="371"/>
            <ac:spMk id="2" creationId="{3A44AA61-7984-495C-BE25-7C6EB9039238}"/>
          </ac:spMkLst>
        </pc:spChg>
        <pc:picChg chg="add mod">
          <ac:chgData name="Esther Tan" userId="a32faec1-ecd3-4185-9414-aeb51abd286d" providerId="ADAL" clId="{073169BB-92CE-4CE1-962F-A60733D60926}" dt="2021-05-27T15:40:30.753" v="219" actId="1076"/>
          <ac:picMkLst>
            <pc:docMk/>
            <pc:sldMk cId="1792818211" sldId="371"/>
            <ac:picMk id="3" creationId="{958C3D96-62CC-4735-A38F-8C24FBCA9166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AA4C1A-BE7B-4A0D-A467-1E361B414D76}" type="datetimeFigureOut">
              <a:rPr lang="en-US" smtClean="0"/>
              <a:t>27/05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0DFD1F-0238-4384-A4AD-C74AD7F045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1124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3D26B41-D3AE-4575-A030-D9E58D95E43F}" type="datetimeFigureOut">
              <a:rPr lang="en-US" smtClean="0"/>
              <a:t>27/05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E5C6692-4A53-4147-B9C8-2C6BFFC136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444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sv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12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11" Type="http://schemas.openxmlformats.org/officeDocument/2006/relationships/image" Target="../media/image6.sv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9.xml"/><Relationship Id="rId7" Type="http://schemas.openxmlformats.org/officeDocument/2006/relationships/image" Target="../media/image3.png"/><Relationship Id="rId12" Type="http://schemas.openxmlformats.org/officeDocument/2006/relationships/image" Target="../media/image8.sv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6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57EE83-8E8E-4BD6-BB9A-5E650DA305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6859203"/>
              </p:ext>
            </p:extLst>
          </p:nvPr>
        </p:nvGraphicFramePr>
        <p:xfrm>
          <a:off x="2116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57EE83-8E8E-4BD6-BB9A-5E650DA305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6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C7112CE-09C2-479B-8B2E-873A39722C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59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827F43F-4B7F-4B95-B5F3-34061256D41B}"/>
              </a:ext>
            </a:extLst>
          </p:cNvPr>
          <p:cNvSpPr/>
          <p:nvPr userDrawn="1"/>
        </p:nvSpPr>
        <p:spPr>
          <a:xfrm>
            <a:off x="84" y="0"/>
            <a:ext cx="13004631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 sz="19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0138" y="2525053"/>
            <a:ext cx="11131848" cy="1103519"/>
          </a:xfrm>
        </p:spPr>
        <p:txBody>
          <a:bodyPr wrap="square" tIns="0" bIns="0" anchor="t" anchorCtr="0">
            <a:noAutofit/>
          </a:bodyPr>
          <a:lstStyle>
            <a:lvl1pPr>
              <a:defRPr sz="3800" cap="all" baseline="0"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0138" y="3971957"/>
            <a:ext cx="9103361" cy="305468"/>
          </a:xfrm>
        </p:spPr>
        <p:txBody>
          <a:bodyPr>
            <a:spAutoFit/>
          </a:bodyPr>
          <a:lstStyle>
            <a:lvl1pPr marL="0" indent="0" algn="l">
              <a:buNone/>
              <a:defRPr sz="1900" b="1">
                <a:solidFill>
                  <a:schemeClr val="bg2">
                    <a:lumMod val="50000"/>
                  </a:schemeClr>
                </a:solidFill>
              </a:defRPr>
            </a:lvl1pPr>
            <a:lvl2pPr marL="4877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54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3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0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3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26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141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01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11551118" y="5858178"/>
            <a:ext cx="1301804" cy="1358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 sz="1900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0" hasCustomPrompt="1"/>
          </p:nvPr>
        </p:nvSpPr>
        <p:spPr>
          <a:xfrm>
            <a:off x="330139" y="4904200"/>
            <a:ext cx="9191140" cy="1268000"/>
          </a:xfrm>
        </p:spPr>
        <p:txBody>
          <a:bodyPr>
            <a:noAutofit/>
          </a:bodyPr>
          <a:lstStyle>
            <a:lvl1pPr marL="0" indent="0">
              <a:buNone/>
              <a:defRPr sz="15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peaker / Organization / D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B65AFB-FF47-442D-9BDB-15F69649DAD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138" y="206833"/>
            <a:ext cx="1646063" cy="46943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74B81FA6-8121-4387-8DE3-1086FF9463A1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11118771" y="328214"/>
            <a:ext cx="1849740" cy="1704157"/>
            <a:chOff x="17454" y="1303"/>
            <a:chExt cx="464234" cy="427420"/>
          </a:xfrm>
        </p:grpSpPr>
        <p:pic>
          <p:nvPicPr>
            <p:cNvPr id="18" name="Graphic 3">
              <a:extLst>
                <a:ext uri="{FF2B5EF4-FFF2-40B4-BE49-F238E27FC236}">
                  <a16:creationId xmlns:a16="http://schemas.microsoft.com/office/drawing/2014/main" id="{84E6CCD5-5941-4F6D-8F5D-099833C54F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19" name="Graphic 4">
              <a:extLst>
                <a:ext uri="{FF2B5EF4-FFF2-40B4-BE49-F238E27FC236}">
                  <a16:creationId xmlns:a16="http://schemas.microsoft.com/office/drawing/2014/main" id="{75B42211-8914-436B-A695-0BD58352E0F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20" name="Graphic 11">
              <a:extLst>
                <a:ext uri="{FF2B5EF4-FFF2-40B4-BE49-F238E27FC236}">
                  <a16:creationId xmlns:a16="http://schemas.microsoft.com/office/drawing/2014/main" id="{A5511184-EFAB-4631-B049-FA9161CB89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87531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812290C-5F1F-4B32-824D-953A288F33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2102482"/>
              </p:ext>
            </p:extLst>
          </p:nvPr>
        </p:nvGraphicFramePr>
        <p:xfrm>
          <a:off x="2116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812290C-5F1F-4B32-824D-953A288F33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6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D6046D9-654B-4561-87FC-6DF9EA730F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59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0170" y="1960563"/>
            <a:ext cx="12338601" cy="4207633"/>
          </a:xfrm>
        </p:spPr>
        <p:txBody>
          <a:bodyPr/>
          <a:lstStyle>
            <a:lvl1pPr marL="233363" indent="-233363">
              <a:defRPr sz="16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-223838">
              <a:defRPr sz="1600">
                <a:solidFill>
                  <a:schemeClr val="bg2">
                    <a:lumMod val="5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340169" y="2486026"/>
            <a:ext cx="3656410" cy="3686175"/>
          </a:xfrm>
        </p:spPr>
        <p:txBody>
          <a:bodyPr tIns="91440"/>
          <a:lstStyle>
            <a:lvl1pPr marL="137160" indent="-137160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320040" indent="-182880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9022360" y="2486026"/>
            <a:ext cx="3656410" cy="3686175"/>
          </a:xfrm>
        </p:spPr>
        <p:txBody>
          <a:bodyPr tIns="91440"/>
          <a:lstStyle>
            <a:lvl1pPr marL="137160" indent="-137160"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274320" indent="-182880"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defRPr sz="12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4681265" y="2486026"/>
            <a:ext cx="3656410" cy="3686175"/>
          </a:xfrm>
        </p:spPr>
        <p:txBody>
          <a:bodyPr tIns="91440"/>
          <a:lstStyle>
            <a:lvl1pPr marL="136525" indent="-136525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274320" indent="-18288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-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1D9A9699-A38C-43B2-B45D-777BE12A8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170" y="879664"/>
            <a:ext cx="12338601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7516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5E987C8-4F07-4F6F-A456-833539496F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6248012"/>
              </p:ext>
            </p:extLst>
          </p:nvPr>
        </p:nvGraphicFramePr>
        <p:xfrm>
          <a:off x="2116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5E987C8-4F07-4F6F-A456-833539496F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6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53FA6A3-438D-451C-BEBD-0EA60D35D94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59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5BF4DC5-25B6-45E7-AF1F-ADF99DB2984C}"/>
              </a:ext>
            </a:extLst>
          </p:cNvPr>
          <p:cNvSpPr/>
          <p:nvPr userDrawn="1"/>
        </p:nvSpPr>
        <p:spPr>
          <a:xfrm>
            <a:off x="84" y="0"/>
            <a:ext cx="13004631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 sz="19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817" y="2529054"/>
            <a:ext cx="11454001" cy="400110"/>
          </a:xfrm>
        </p:spPr>
        <p:txBody>
          <a:bodyPr wrap="square" tIns="0" bIns="0" anchor="t">
            <a:spAutoFit/>
          </a:bodyPr>
          <a:lstStyle>
            <a:lvl1pPr algn="l">
              <a:defRPr sz="2600" b="1"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11601307" y="105207"/>
            <a:ext cx="1301804" cy="11671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 sz="190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914E333-5364-48CD-AA85-8B8827535BA4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11118771" y="328214"/>
            <a:ext cx="1849740" cy="1704157"/>
            <a:chOff x="17454" y="1303"/>
            <a:chExt cx="464234" cy="427420"/>
          </a:xfrm>
        </p:grpSpPr>
        <p:pic>
          <p:nvPicPr>
            <p:cNvPr id="17" name="Graphic 3">
              <a:extLst>
                <a:ext uri="{FF2B5EF4-FFF2-40B4-BE49-F238E27FC236}">
                  <a16:creationId xmlns:a16="http://schemas.microsoft.com/office/drawing/2014/main" id="{282E0BAA-C314-41BE-93BB-B416916A56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19" name="Graphic 4">
              <a:extLst>
                <a:ext uri="{FF2B5EF4-FFF2-40B4-BE49-F238E27FC236}">
                  <a16:creationId xmlns:a16="http://schemas.microsoft.com/office/drawing/2014/main" id="{341499A5-F978-415F-B0C8-55ABF6E488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20" name="Graphic 11">
              <a:extLst>
                <a:ext uri="{FF2B5EF4-FFF2-40B4-BE49-F238E27FC236}">
                  <a16:creationId xmlns:a16="http://schemas.microsoft.com/office/drawing/2014/main" id="{F237F2DB-DF94-4361-AC5B-861DF999032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47308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84" y="0"/>
            <a:ext cx="13004631" cy="731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 sz="19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667E83C-8D72-4F87-B17B-D5C220AFB8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200" y="6324600"/>
            <a:ext cx="2447647" cy="698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4248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image" Target="../media/image4.svg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3.png"/><Relationship Id="rId17" Type="http://schemas.openxmlformats.org/officeDocument/2006/relationships/image" Target="../media/image8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png"/><Relationship Id="rId5" Type="http://schemas.openxmlformats.org/officeDocument/2006/relationships/theme" Target="../theme/theme1.xml"/><Relationship Id="rId15" Type="http://schemas.openxmlformats.org/officeDocument/2006/relationships/image" Target="../media/image6.svg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Relationship Id="rId14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58728132"/>
              </p:ext>
            </p:extLst>
          </p:nvPr>
        </p:nvGraphicFramePr>
        <p:xfrm>
          <a:off x="2117" y="1589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7" y="1589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82097C7-C17B-4180-84F8-A2955C72C9D0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21159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0170" y="879664"/>
            <a:ext cx="12338601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9403" y="1960563"/>
            <a:ext cx="12338601" cy="4211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11377613" y="7071956"/>
            <a:ext cx="128265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2E9152CC-DD9B-47F6-8FF2-D87C763F937B}" type="slidenum">
              <a:rPr lang="en-US" sz="1000" b="1" smtClean="0">
                <a:solidFill>
                  <a:schemeClr val="bg2">
                    <a:lumMod val="50000"/>
                  </a:schemeClr>
                </a:solidFill>
              </a:rPr>
              <a:pPr algn="r"/>
              <a:t>‹#›</a:t>
            </a:fld>
            <a:endParaRPr lang="en-US" sz="1000" b="1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E10EBE6-BF96-4BB4-96AA-3089B196701D}"/>
              </a:ext>
            </a:extLst>
          </p:cNvPr>
          <p:cNvCxnSpPr/>
          <p:nvPr userDrawn="1"/>
        </p:nvCxnSpPr>
        <p:spPr>
          <a:xfrm>
            <a:off x="335931" y="688273"/>
            <a:ext cx="12362498" cy="0"/>
          </a:xfrm>
          <a:prstGeom prst="line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46D1D9C-C628-424F-8135-0FB2CA693B55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138" y="206833"/>
            <a:ext cx="1646063" cy="469433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E56D2BD5-82F8-4365-ACF0-EAE267FDE52E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12129004" y="158744"/>
            <a:ext cx="613930" cy="565611"/>
            <a:chOff x="17454" y="1303"/>
            <a:chExt cx="464234" cy="427420"/>
          </a:xfrm>
        </p:grpSpPr>
        <p:pic>
          <p:nvPicPr>
            <p:cNvPr id="14" name="Graphic 3">
              <a:extLst>
                <a:ext uri="{FF2B5EF4-FFF2-40B4-BE49-F238E27FC236}">
                  <a16:creationId xmlns:a16="http://schemas.microsoft.com/office/drawing/2014/main" id="{BCC324CE-B93B-43C1-B98D-AA20F4EA9F4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15" name="Graphic 4">
              <a:extLst>
                <a:ext uri="{FF2B5EF4-FFF2-40B4-BE49-F238E27FC236}">
                  <a16:creationId xmlns:a16="http://schemas.microsoft.com/office/drawing/2014/main" id="{89446A89-02B1-473D-B081-6CBC7C2666A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6" name="Graphic 11">
              <a:extLst>
                <a:ext uri="{FF2B5EF4-FFF2-40B4-BE49-F238E27FC236}">
                  <a16:creationId xmlns:a16="http://schemas.microsoft.com/office/drawing/2014/main" id="{30AE010B-F152-4A56-9AC2-4B70BA1684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9971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1" r:id="rId4"/>
  </p:sldLayoutIdLst>
  <p:hf sldNum="0" hdr="0" ftr="0" dt="0"/>
  <p:txStyles>
    <p:titleStyle>
      <a:lvl1pPr algn="l" defTabSz="975482" rtl="0" eaLnBrk="1" latinLnBrk="0" hangingPunct="1">
        <a:spcBef>
          <a:spcPct val="0"/>
        </a:spcBef>
        <a:buNone/>
        <a:defRPr sz="2600" b="1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34950" indent="-23495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•"/>
        <a:defRPr lang="en-US" sz="1600" b="0" kern="1200" dirty="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1pPr>
      <a:lvl2pPr marL="457200" indent="-22225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2pPr>
      <a:lvl3pPr marL="914400" indent="-22860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3pPr>
      <a:lvl4pPr marL="1707093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–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4pPr>
      <a:lvl5pPr marL="2194834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»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5pPr>
      <a:lvl6pPr marL="2682575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70316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8057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45798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7741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5482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3223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0964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38705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26446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14187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1928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" userDrawn="1">
          <p15:clr>
            <a:srgbClr val="F26B43"/>
          </p15:clr>
        </p15:guide>
        <p15:guide id="2" pos="7999" userDrawn="1">
          <p15:clr>
            <a:srgbClr val="F26B43"/>
          </p15:clr>
        </p15:guide>
        <p15:guide id="6" orient="horz" pos="96" userDrawn="1">
          <p15:clr>
            <a:srgbClr val="F26B43"/>
          </p15:clr>
        </p15:guide>
        <p15:guide id="7" orient="horz" pos="1056" userDrawn="1">
          <p15:clr>
            <a:srgbClr val="F26B43"/>
          </p15:clr>
        </p15:guide>
        <p15:guide id="8" orient="horz" pos="1248" userDrawn="1">
          <p15:clr>
            <a:srgbClr val="F26B43"/>
          </p15:clr>
        </p15:guide>
        <p15:guide id="9" pos="193" userDrawn="1">
          <p15:clr>
            <a:srgbClr val="F26B43"/>
          </p15:clr>
        </p15:guide>
        <p15:guide id="10" pos="7615" userDrawn="1">
          <p15:clr>
            <a:srgbClr val="F26B43"/>
          </p15:clr>
        </p15:guide>
        <p15:guide id="12" orient="horz" pos="3964" userDrawn="1">
          <p15:clr>
            <a:srgbClr val="F26B43"/>
          </p15:clr>
        </p15:guide>
        <p15:guide id="14" orient="horz" pos="3888" userDrawn="1">
          <p15:clr>
            <a:srgbClr val="F26B43"/>
          </p15:clr>
        </p15:guide>
        <p15:guide id="15" orient="horz" pos="1584" userDrawn="1">
          <p15:clr>
            <a:srgbClr val="F26B43"/>
          </p15:clr>
        </p15:guide>
        <p15:guide id="16" pos="3712" userDrawn="1">
          <p15:clr>
            <a:srgbClr val="F26B43"/>
          </p15:clr>
        </p15:guide>
        <p15:guide id="17" pos="4480" userDrawn="1">
          <p15:clr>
            <a:srgbClr val="F26B43"/>
          </p15:clr>
        </p15:guide>
        <p15:guide id="18" orient="horz" pos="4608" userDrawn="1">
          <p15:clr>
            <a:srgbClr val="F26B43"/>
          </p15:clr>
        </p15:guide>
        <p15:guide id="19" orient="horz" pos="4356" userDrawn="1">
          <p15:clr>
            <a:srgbClr val="F26B43"/>
          </p15:clr>
        </p15:guide>
        <p15:guide id="20" orient="horz" pos="528" userDrawn="1">
          <p15:clr>
            <a:srgbClr val="F26B43"/>
          </p15:clr>
        </p15:guide>
        <p15:guide id="21" orient="horz" pos="41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9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21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22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23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24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25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0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28.png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mailto:Covidvaccines@un.org" TargetMode="External"/><Relationship Id="rId3" Type="http://schemas.openxmlformats.org/officeDocument/2006/relationships/tags" Target="../tags/tag41.xml"/><Relationship Id="rId7" Type="http://schemas.openxmlformats.org/officeDocument/2006/relationships/hyperlink" Target="mailto:dos-dhmosh-public-health@un.org" TargetMode="Externa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1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5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6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7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F38BF67-C008-4A01-AB0C-422324EE69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994313"/>
              </p:ext>
            </p:extLst>
          </p:nvPr>
        </p:nvGraphicFramePr>
        <p:xfrm>
          <a:off x="16256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F38BF67-C008-4A01-AB0C-422324EE69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56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C3E1BF5F-09B6-437C-B25F-A3B49F77AAB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24013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3EC7C1B-FDF5-4B29-8020-F341F91D9D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DDRESSING COVID-19 VACCINE HESITANCY</a:t>
            </a: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EFBE890A-8F8B-445F-A55F-8E3CE23C26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8388" y="3591104"/>
            <a:ext cx="9103361" cy="450188"/>
          </a:xfrm>
        </p:spPr>
        <p:txBody>
          <a:bodyPr/>
          <a:lstStyle/>
          <a:p>
            <a:r>
              <a:rPr lang="en-US" sz="2800" dirty="0"/>
              <a:t>DHMOSH Public Health Sect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B0F06D7-69E3-4EBF-86A4-C9F73C3B41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0138" y="4473343"/>
            <a:ext cx="9191140" cy="1268000"/>
          </a:xfrm>
        </p:spPr>
        <p:txBody>
          <a:bodyPr/>
          <a:lstStyle/>
          <a:p>
            <a:r>
              <a:rPr lang="en-US" sz="2800" dirty="0"/>
              <a:t>Dr. Esther Tan</a:t>
            </a:r>
          </a:p>
          <a:p>
            <a:r>
              <a:rPr lang="en-US" sz="2800" dirty="0"/>
              <a:t>Senior Medical Officer</a:t>
            </a:r>
          </a:p>
          <a:p>
            <a:endParaRPr lang="en-US" sz="2800" dirty="0"/>
          </a:p>
          <a:p>
            <a:r>
              <a:rPr lang="en-US" sz="2800" dirty="0"/>
              <a:t>May 2021</a:t>
            </a:r>
          </a:p>
        </p:txBody>
      </p:sp>
    </p:spTree>
    <p:extLst>
      <p:ext uri="{BB962C8B-B14F-4D97-AF65-F5344CB8AC3E}">
        <p14:creationId xmlns:p14="http://schemas.microsoft.com/office/powerpoint/2010/main" val="19635263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58C3D96-62CC-4735-A38F-8C24FBCA91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11525" y="1066800"/>
            <a:ext cx="6381750" cy="5483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28182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56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E9E07DF-4A5F-454D-A31E-E329CB6BE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56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24013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" y="1363111"/>
            <a:ext cx="12115800" cy="796736"/>
          </a:xfrm>
        </p:spPr>
        <p:txBody>
          <a:bodyPr/>
          <a:lstStyle/>
          <a:p>
            <a:pPr algn="ctr"/>
            <a:r>
              <a:rPr lang="en-US" sz="4000" dirty="0"/>
              <a:t>How Is Vaccine Safety, Immune Response, Efficacy Tested?</a:t>
            </a:r>
            <a:br>
              <a:rPr lang="en-US" b="0" dirty="0">
                <a:solidFill>
                  <a:schemeClr val="bg2"/>
                </a:solidFill>
              </a:rPr>
            </a:br>
            <a:endParaRPr lang="en-US" sz="16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B9FF0D2-8801-4C38-9311-2FDF4023C67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35400" y="2159847"/>
            <a:ext cx="5029200" cy="4553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7878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54886DD-9F67-4460-BCD0-C61E369E47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900" y="76200"/>
            <a:ext cx="12777000" cy="7063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9650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56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E9E07DF-4A5F-454D-A31E-E329CB6BE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56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24013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4200" y="0"/>
            <a:ext cx="10338176" cy="796736"/>
          </a:xfrm>
        </p:spPr>
        <p:txBody>
          <a:bodyPr/>
          <a:lstStyle/>
          <a:p>
            <a:pPr algn="ctr"/>
            <a:r>
              <a:rPr lang="en-US" sz="4000" dirty="0"/>
              <a:t> Sequential Steps vs In Parallel</a:t>
            </a:r>
            <a:endParaRPr lang="en-US" sz="16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6E607E6-2020-4BA8-8D6C-2BD21111A9F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49800" y="914400"/>
            <a:ext cx="4205288" cy="6195396"/>
          </a:xfrm>
          <a:prstGeom prst="rect">
            <a:avLst/>
          </a:prstGeom>
          <a:solidFill>
            <a:schemeClr val="bg1"/>
          </a:solidFill>
          <a:ln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16586748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56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E9E07DF-4A5F-454D-A31E-E329CB6BE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56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24013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4200" y="1089214"/>
            <a:ext cx="10338176" cy="796736"/>
          </a:xfrm>
        </p:spPr>
        <p:txBody>
          <a:bodyPr/>
          <a:lstStyle/>
          <a:p>
            <a:endParaRPr lang="en-US" sz="16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700FFE8-7039-415A-8ECD-E7423C2DF32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01800" y="490338"/>
            <a:ext cx="10028175" cy="6334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0263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56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E9E07DF-4A5F-454D-A31E-E329CB6BE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56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24013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4200" y="1089214"/>
            <a:ext cx="10338176" cy="796736"/>
          </a:xfrm>
        </p:spPr>
        <p:txBody>
          <a:bodyPr/>
          <a:lstStyle/>
          <a:p>
            <a:br>
              <a:rPr lang="en-US" b="0" dirty="0">
                <a:solidFill>
                  <a:schemeClr val="bg2"/>
                </a:solidFill>
              </a:rPr>
            </a:br>
            <a:endParaRPr lang="en-US" sz="16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E6EA0E7-05DA-42E6-98A0-67AB5F59A34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30500" y="260640"/>
            <a:ext cx="7543800" cy="6793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21098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56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E9E07DF-4A5F-454D-A31E-E329CB6BE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56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24013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1800" y="2133600"/>
            <a:ext cx="10338176" cy="796736"/>
          </a:xfrm>
        </p:spPr>
        <p:txBody>
          <a:bodyPr/>
          <a:lstStyle/>
          <a:p>
            <a:pPr algn="ctr"/>
            <a:r>
              <a:rPr lang="en-US" sz="3900" dirty="0"/>
              <a:t>AZ Vaccine Phase 3 Trial of 11,000 persons</a:t>
            </a:r>
            <a:br>
              <a:rPr lang="en-US" sz="4000" dirty="0"/>
            </a:br>
            <a:r>
              <a:rPr lang="en-US" sz="3600" i="1" dirty="0">
                <a:solidFill>
                  <a:srgbClr val="FF0000"/>
                </a:solidFill>
              </a:rPr>
              <a:t>30 cases in Vaccine Group vs </a:t>
            </a:r>
            <a:br>
              <a:rPr lang="en-US" sz="3600" i="1" dirty="0">
                <a:solidFill>
                  <a:srgbClr val="FF0000"/>
                </a:solidFill>
              </a:rPr>
            </a:br>
            <a:r>
              <a:rPr lang="en-US" sz="3600" i="1" dirty="0">
                <a:solidFill>
                  <a:srgbClr val="FF0000"/>
                </a:solidFill>
              </a:rPr>
              <a:t>101 cases in Control Group</a:t>
            </a:r>
            <a:br>
              <a:rPr lang="en-US" b="0" dirty="0">
                <a:solidFill>
                  <a:schemeClr val="bg2"/>
                </a:solidFill>
              </a:rPr>
            </a:br>
            <a:endParaRPr lang="en-US" sz="16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613010F-28EB-4C27-9B62-578ADC259E3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40704" y="3124200"/>
            <a:ext cx="6723391" cy="348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381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56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E9E07DF-4A5F-454D-A31E-E329CB6BE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56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24013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4200" y="1089214"/>
            <a:ext cx="10338176" cy="796736"/>
          </a:xfrm>
        </p:spPr>
        <p:txBody>
          <a:bodyPr/>
          <a:lstStyle/>
          <a:p>
            <a:pPr algn="ctr"/>
            <a:r>
              <a:rPr lang="en-US" sz="4000" dirty="0"/>
              <a:t>Risk of Rare Blood Clots/Low Platelet Condition (TTS)?</a:t>
            </a:r>
            <a:br>
              <a:rPr lang="en-US" b="0" dirty="0">
                <a:solidFill>
                  <a:schemeClr val="bg2"/>
                </a:solidFill>
              </a:rPr>
            </a:br>
            <a:endParaRPr lang="en-US" sz="16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79BCD9A-C6A0-476F-84C5-D7C273170DE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9800" y="1676400"/>
            <a:ext cx="11506200" cy="5479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02007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F35351D-2C6E-44EF-8541-77829DC8CF3C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91D789C-44ED-49B1-A801-AD22929ECB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1500" y="266700"/>
            <a:ext cx="6781800" cy="678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95126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DDE1D20-070F-4458-A7A2-2804120943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D5F3DA-99F2-4F0B-985E-4B1507E5772F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25CC18-A744-4A14-9382-98E47A3CFEC4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5356CDA-5E55-4334-8E92-532356939CB5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DC52C9A-FB6B-4DEA-8E47-5A1731280F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dirty="0"/>
              <a:t>What Choice Will You Make?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095690E-BCED-4173-BD4E-5A6EF9C4F4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4586" y="2041538"/>
            <a:ext cx="12009768" cy="4575150"/>
          </a:xfrm>
          <a:prstGeom prst="rect">
            <a:avLst/>
          </a:prstGeom>
          <a:ln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8527087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56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E9E07DF-4A5F-454D-A31E-E329CB6BE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56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24013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4200" y="852592"/>
            <a:ext cx="10338176" cy="796736"/>
          </a:xfrm>
        </p:spPr>
        <p:txBody>
          <a:bodyPr/>
          <a:lstStyle/>
          <a:p>
            <a:r>
              <a:rPr lang="en-US" sz="4000" dirty="0"/>
              <a:t>Concerns About the COVID-19 Vaccine</a:t>
            </a:r>
            <a:br>
              <a:rPr lang="en-US" b="0" dirty="0">
                <a:solidFill>
                  <a:schemeClr val="bg2"/>
                </a:solidFill>
              </a:rPr>
            </a:br>
            <a:endParaRPr lang="en-US" sz="16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3F4854F-5A7C-4694-93CD-6B500BFEF02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2924" y="1649328"/>
            <a:ext cx="12478952" cy="4980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427321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56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E9E07DF-4A5F-454D-A31E-E329CB6BE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56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24013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4200" y="1089214"/>
            <a:ext cx="10338176" cy="796736"/>
          </a:xfrm>
        </p:spPr>
        <p:txBody>
          <a:bodyPr/>
          <a:lstStyle/>
          <a:p>
            <a:br>
              <a:rPr lang="en-US" b="0" dirty="0">
                <a:solidFill>
                  <a:schemeClr val="bg2"/>
                </a:solidFill>
              </a:rPr>
            </a:br>
            <a:endParaRPr lang="en-US" sz="16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3F83CAA-93DC-480E-ACBA-F4D31DD2C82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22279" y="1793089"/>
            <a:ext cx="6960237" cy="3986093"/>
          </a:xfrm>
          <a:prstGeom prst="rect">
            <a:avLst/>
          </a:prstGeom>
          <a:ln>
            <a:solidFill>
              <a:srgbClr val="000000"/>
            </a:solidFill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6226020-84D5-4C3D-A758-86253BA0509B}"/>
              </a:ext>
            </a:extLst>
          </p:cNvPr>
          <p:cNvSpPr/>
          <p:nvPr/>
        </p:nvSpPr>
        <p:spPr>
          <a:xfrm>
            <a:off x="1117652" y="779696"/>
            <a:ext cx="10769487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000" b="1" dirty="0"/>
              <a:t>Learn More About Basics of COVID-19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421B59F-3F13-4535-B6AE-692B756B97AC}"/>
              </a:ext>
            </a:extLst>
          </p:cNvPr>
          <p:cNvSpPr/>
          <p:nvPr/>
        </p:nvSpPr>
        <p:spPr>
          <a:xfrm>
            <a:off x="2734378" y="6181926"/>
            <a:ext cx="7536037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000" b="1" dirty="0">
                <a:solidFill>
                  <a:srgbClr val="000000"/>
                </a:solidFill>
              </a:rPr>
              <a:t>https://youtu.be/hcs2Esr0CFQ</a:t>
            </a:r>
          </a:p>
        </p:txBody>
      </p:sp>
    </p:spTree>
    <p:extLst>
      <p:ext uri="{BB962C8B-B14F-4D97-AF65-F5344CB8AC3E}">
        <p14:creationId xmlns:p14="http://schemas.microsoft.com/office/powerpoint/2010/main" val="30037470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56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E9E07DF-4A5F-454D-A31E-E329CB6BE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56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24013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312" y="7924800"/>
            <a:ext cx="10338176" cy="796736"/>
          </a:xfrm>
        </p:spPr>
        <p:txBody>
          <a:bodyPr/>
          <a:lstStyle/>
          <a:p>
            <a:pPr algn="ctr"/>
            <a:r>
              <a:rPr lang="en-US" sz="3600" b="0" dirty="0">
                <a:solidFill>
                  <a:schemeClr val="bg2"/>
                </a:solidFill>
              </a:rPr>
              <a:t>Any questions, please contact</a:t>
            </a:r>
            <a:br>
              <a:rPr lang="en-US" sz="4000" b="0" dirty="0">
                <a:solidFill>
                  <a:schemeClr val="bg2"/>
                </a:solidFill>
              </a:rPr>
            </a:br>
            <a:r>
              <a:rPr lang="en-US" sz="4000" b="0" dirty="0">
                <a:solidFill>
                  <a:schemeClr val="bg2"/>
                </a:solidFill>
                <a:hlinkClick r:id="rId7"/>
              </a:rPr>
              <a:t>dos-dhmosh-public-health@un.org</a:t>
            </a:r>
            <a:br>
              <a:rPr lang="en-US" sz="4000" b="0" dirty="0">
                <a:solidFill>
                  <a:schemeClr val="bg2"/>
                </a:solidFill>
              </a:rPr>
            </a:br>
            <a:r>
              <a:rPr lang="en-US" sz="4000" b="0" dirty="0">
                <a:solidFill>
                  <a:schemeClr val="bg2"/>
                </a:solidFill>
                <a:hlinkClick r:id="rId8"/>
              </a:rPr>
              <a:t>Covidvaccines@un.org</a:t>
            </a:r>
            <a:br>
              <a:rPr lang="en-US" sz="4000" b="0" dirty="0">
                <a:solidFill>
                  <a:schemeClr val="bg2"/>
                </a:solidFill>
              </a:rPr>
            </a:br>
            <a:br>
              <a:rPr lang="en-US" sz="4000" b="0" dirty="0">
                <a:solidFill>
                  <a:schemeClr val="bg2"/>
                </a:solidFill>
              </a:rPr>
            </a:br>
            <a:br>
              <a:rPr lang="en-US" sz="4000" b="0" dirty="0">
                <a:solidFill>
                  <a:schemeClr val="bg2"/>
                </a:solidFill>
              </a:rPr>
            </a:br>
            <a:br>
              <a:rPr lang="en-US" sz="4000" b="0" dirty="0">
                <a:solidFill>
                  <a:schemeClr val="bg2"/>
                </a:solidFill>
              </a:rPr>
            </a:br>
            <a:br>
              <a:rPr lang="en-US" b="0" dirty="0">
                <a:solidFill>
                  <a:schemeClr val="bg2"/>
                </a:solidFill>
              </a:rPr>
            </a:br>
            <a:endParaRPr lang="en-US" sz="16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6D180EB-3F37-45E0-A8A5-B51B5EF4E7D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45000" y="457200"/>
            <a:ext cx="4114800" cy="3791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69764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56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E9E07DF-4A5F-454D-A31E-E329CB6BE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56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24013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8D24970-954E-4204-B77A-42040B60B2E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35200" y="838200"/>
            <a:ext cx="8534400" cy="6012088"/>
          </a:xfrm>
          <a:prstGeom prst="rect">
            <a:avLst/>
          </a:prstGeom>
          <a:ln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15808832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56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E9E07DF-4A5F-454D-A31E-E329CB6BE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56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24013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4200" y="1089214"/>
            <a:ext cx="10338176" cy="796736"/>
          </a:xfrm>
        </p:spPr>
        <p:txBody>
          <a:bodyPr/>
          <a:lstStyle/>
          <a:p>
            <a:br>
              <a:rPr lang="en-US" b="0" dirty="0">
                <a:solidFill>
                  <a:schemeClr val="bg2"/>
                </a:solidFill>
              </a:rPr>
            </a:br>
            <a:endParaRPr lang="en-US" sz="16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22A4EFF-221E-4F95-82BF-D7CB2AF9FF4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82700" y="762000"/>
            <a:ext cx="10439400" cy="6260728"/>
          </a:xfrm>
          <a:prstGeom prst="rect">
            <a:avLst/>
          </a:prstGeom>
          <a:ln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28194749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56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E9E07DF-4A5F-454D-A31E-E329CB6BE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56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24013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4200" y="1089214"/>
            <a:ext cx="10338176" cy="796736"/>
          </a:xfrm>
        </p:spPr>
        <p:txBody>
          <a:bodyPr/>
          <a:lstStyle/>
          <a:p>
            <a:br>
              <a:rPr lang="en-US" b="0" dirty="0">
                <a:solidFill>
                  <a:schemeClr val="bg2"/>
                </a:solidFill>
              </a:rPr>
            </a:br>
            <a:endParaRPr lang="en-US" sz="16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BCD838B-AA94-4417-83DB-D54FBE8353B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59000" y="457200"/>
            <a:ext cx="9245788" cy="6583727"/>
          </a:xfrm>
          <a:prstGeom prst="rect">
            <a:avLst/>
          </a:prstGeom>
          <a:ln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25796729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A0FA84A-3F55-4A27-9C7F-23CBDA04FE0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00FFEBA-B475-44AF-86BC-071CA81F84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21266" y="342900"/>
            <a:ext cx="6562267" cy="662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081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56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E9E07DF-4A5F-454D-A31E-E329CB6BE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56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24013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4200" y="1089214"/>
            <a:ext cx="10338176" cy="796736"/>
          </a:xfrm>
        </p:spPr>
        <p:txBody>
          <a:bodyPr/>
          <a:lstStyle/>
          <a:p>
            <a:br>
              <a:rPr lang="en-US" b="0" dirty="0">
                <a:solidFill>
                  <a:schemeClr val="bg2"/>
                </a:solidFill>
              </a:rPr>
            </a:br>
            <a:endParaRPr lang="en-US" sz="16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9FA1C63-D88C-48F7-A138-116A96951C2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44600" y="685800"/>
            <a:ext cx="10840172" cy="6219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79886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56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E9E07DF-4A5F-454D-A31E-E329CB6BE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56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24013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4200" y="1089214"/>
            <a:ext cx="10338176" cy="796736"/>
          </a:xfrm>
        </p:spPr>
        <p:txBody>
          <a:bodyPr/>
          <a:lstStyle/>
          <a:p>
            <a:br>
              <a:rPr lang="en-US" b="0" dirty="0">
                <a:solidFill>
                  <a:schemeClr val="bg2"/>
                </a:solidFill>
              </a:rPr>
            </a:br>
            <a:endParaRPr lang="en-US" sz="16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88977F8-BDC2-4CE8-B97C-82E00311FCD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06600" y="311827"/>
            <a:ext cx="9796421" cy="6691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9833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56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E9E07DF-4A5F-454D-A31E-E329CB6BE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56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24013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4200" y="1089214"/>
            <a:ext cx="10338176" cy="796736"/>
          </a:xfrm>
        </p:spPr>
        <p:txBody>
          <a:bodyPr/>
          <a:lstStyle/>
          <a:p>
            <a:br>
              <a:rPr lang="en-US" b="0" dirty="0">
                <a:solidFill>
                  <a:schemeClr val="bg2"/>
                </a:solidFill>
              </a:rPr>
            </a:br>
            <a:endParaRPr lang="en-US" sz="16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C2364C9-49C5-4EBE-94EE-0281116C11F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44152" y="467833"/>
            <a:ext cx="8316495" cy="6379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77243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.41mcsTOyq8SpygRFfv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T_PymPRvmkgiZOPA4XN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akX4mS3CzDWeBOx6h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2y60WDRPqlsiossrMu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thqKfTQEKgihgUsR7khw"/>
</p:tagLst>
</file>

<file path=ppt/theme/theme1.xml><?xml version="1.0" encoding="utf-8"?>
<a:theme xmlns:a="http://schemas.openxmlformats.org/drawingml/2006/main" name="Office Theme">
  <a:themeElements>
    <a:clrScheme name="DOS Color Scheme">
      <a:dk1>
        <a:srgbClr val="3CBBED"/>
      </a:dk1>
      <a:lt1>
        <a:srgbClr val="FFFFFF"/>
      </a:lt1>
      <a:dk2>
        <a:srgbClr val="117DB3"/>
      </a:dk2>
      <a:lt2>
        <a:srgbClr val="80878A"/>
      </a:lt2>
      <a:accent1>
        <a:srgbClr val="A8E6F8"/>
      </a:accent1>
      <a:accent2>
        <a:srgbClr val="FC8604"/>
      </a:accent2>
      <a:accent3>
        <a:srgbClr val="D13F05"/>
      </a:accent3>
      <a:accent4>
        <a:srgbClr val="FACD8A"/>
      </a:accent4>
      <a:accent5>
        <a:srgbClr val="4E5254"/>
      </a:accent5>
      <a:accent6>
        <a:srgbClr val="C3C6C7"/>
      </a:accent6>
      <a:hlink>
        <a:srgbClr val="3CBBED"/>
      </a:hlink>
      <a:folHlink>
        <a:srgbClr val="3CBBE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437279F9-DB32-4F1B-A032-AC77F3EFB71F}" vid="{B213221D-DA05-4039-A785-4AE6BB2527D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6CB284116B99D439CDA996A8F48F633" ma:contentTypeVersion="5" ma:contentTypeDescription="Create a new document." ma:contentTypeScope="" ma:versionID="9f46f0f61795bb5c77aa3b675c198772">
  <xsd:schema xmlns:xsd="http://www.w3.org/2001/XMLSchema" xmlns:xs="http://www.w3.org/2001/XMLSchema" xmlns:p="http://schemas.microsoft.com/office/2006/metadata/properties" xmlns:ns2="35368d9e-6789-4aeb-b1bb-5b2a92ac00c3" targetNamespace="http://schemas.microsoft.com/office/2006/metadata/properties" ma:root="true" ma:fieldsID="3a67e26bc6820ae78fd3e0fc78b5d683" ns2:_="">
    <xsd:import namespace="35368d9e-6789-4aeb-b1bb-5b2a92ac00c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368d9e-6789-4aeb-b1bb-5b2a92ac00c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CC33011-97CC-4559-AAF1-D14DAABCA91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5368d9e-6789-4aeb-b1bb-5b2a92ac00c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90C0698-D4CC-4D2F-A7BD-6AEBA1B4A39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F508128-6242-43D6-ADEA-539C461BB2E8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95e5e678-43ad-40d1-ac60-f89d2cdf5b98"/>
    <ds:schemaRef ds:uri="66598c8a-6b47-4fa5-ac2b-785d0e3e46d1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OS PPT Template_wide screen</Template>
  <TotalTime>478</TotalTime>
  <Words>125</Words>
  <Application>Microsoft Office PowerPoint</Application>
  <PresentationFormat>Custom</PresentationFormat>
  <Paragraphs>22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5" baseType="lpstr">
      <vt:lpstr>Arial</vt:lpstr>
      <vt:lpstr>Calibri</vt:lpstr>
      <vt:lpstr>Office Theme</vt:lpstr>
      <vt:lpstr>think-cell Slide</vt:lpstr>
      <vt:lpstr>ADDRESSING COVID-19 VACCINE HESITANCY</vt:lpstr>
      <vt:lpstr>Concerns About the COVID-19 Vaccine </vt:lpstr>
      <vt:lpstr>PowerPoint Presentation</vt:lpstr>
      <vt:lpstr> </vt:lpstr>
      <vt:lpstr> </vt:lpstr>
      <vt:lpstr>PowerPoint Presentation</vt:lpstr>
      <vt:lpstr> </vt:lpstr>
      <vt:lpstr> </vt:lpstr>
      <vt:lpstr> </vt:lpstr>
      <vt:lpstr>PowerPoint Presentation</vt:lpstr>
      <vt:lpstr>How Is Vaccine Safety, Immune Response, Efficacy Tested? </vt:lpstr>
      <vt:lpstr>PowerPoint Presentation</vt:lpstr>
      <vt:lpstr> Sequential Steps vs In Parallel</vt:lpstr>
      <vt:lpstr>PowerPoint Presentation</vt:lpstr>
      <vt:lpstr> </vt:lpstr>
      <vt:lpstr>AZ Vaccine Phase 3 Trial of 11,000 persons 30 cases in Vaccine Group vs  101 cases in Control Group </vt:lpstr>
      <vt:lpstr>Risk of Rare Blood Clots/Low Platelet Condition (TTS)? </vt:lpstr>
      <vt:lpstr>PowerPoint Presentation</vt:lpstr>
      <vt:lpstr>What Choice Will You Make?</vt:lpstr>
      <vt:lpstr> </vt:lpstr>
      <vt:lpstr>Any questions, please contact dos-dhmosh-public-health@un.org Covidvaccines@un.org     </vt:lpstr>
    </vt:vector>
  </TitlesOfParts>
  <Company>United Nation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Esther Tan</dc:creator>
  <cp:lastModifiedBy>Esther Tan</cp:lastModifiedBy>
  <cp:revision>7</cp:revision>
  <cp:lastPrinted>2017-07-13T21:00:05Z</cp:lastPrinted>
  <dcterms:created xsi:type="dcterms:W3CDTF">2021-05-25T17:40:01Z</dcterms:created>
  <dcterms:modified xsi:type="dcterms:W3CDTF">2021-05-27T15:40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6CB284116B99D439CDA996A8F48F633</vt:lpwstr>
  </property>
</Properties>
</file>